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ppt/tags/tag21.xml" ContentType="application/vnd.openxmlformats-officedocument.presentationml.tags+xml"/>
  <Override PartName="/ppt/notesSlides/notesSlide7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8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9.xml" ContentType="application/vnd.openxmlformats-officedocument.presentationml.notesSlide+xml"/>
  <Override PartName="/ppt/tags/tag2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5"/>
  </p:notesMasterIdLst>
  <p:sldIdLst>
    <p:sldId id="256" r:id="rId2"/>
    <p:sldId id="257" r:id="rId3"/>
    <p:sldId id="604" r:id="rId4"/>
    <p:sldId id="584" r:id="rId5"/>
    <p:sldId id="592" r:id="rId6"/>
    <p:sldId id="593" r:id="rId7"/>
    <p:sldId id="595" r:id="rId8"/>
    <p:sldId id="594" r:id="rId9"/>
    <p:sldId id="596" r:id="rId10"/>
    <p:sldId id="605" r:id="rId11"/>
    <p:sldId id="597" r:id="rId12"/>
    <p:sldId id="598" r:id="rId13"/>
    <p:sldId id="600" r:id="rId14"/>
    <p:sldId id="601" r:id="rId15"/>
    <p:sldId id="599" r:id="rId16"/>
    <p:sldId id="606" r:id="rId17"/>
    <p:sldId id="589" r:id="rId18"/>
    <p:sldId id="590" r:id="rId19"/>
    <p:sldId id="607" r:id="rId20"/>
    <p:sldId id="602" r:id="rId21"/>
    <p:sldId id="603" r:id="rId22"/>
    <p:sldId id="608" r:id="rId23"/>
    <p:sldId id="575" r:id="rId24"/>
  </p:sldIdLst>
  <p:sldSz cx="12192000" cy="6858000"/>
  <p:notesSz cx="12192000" cy="6858000"/>
  <p:custDataLst>
    <p:tags r:id="rId26"/>
  </p:custDataLst>
  <p:defaultTextStyle>
    <a:defPPr>
      <a:defRPr lang="de-DE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31"/>
    <p:restoredTop sz="65036" autoAdjust="0"/>
  </p:normalViewPr>
  <p:slideViewPr>
    <p:cSldViewPr>
      <p:cViewPr varScale="1">
        <p:scale>
          <a:sx n="70" d="100"/>
          <a:sy n="70" d="100"/>
        </p:scale>
        <p:origin x="2184" y="1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DE7E3AB8-876E-1542-BA35-CC1AAFD17F71}" type="datetimeFigureOut">
              <a:rPr lang="de-DE"/>
              <a:t>01.03.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F79C1C61-5747-1145-9454-DA5BFFD99B8B}" type="slidenum">
              <a:rPr lang="de-DE"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2</a:t>
            </a:fld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826632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222315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79C1C61-5747-1145-9454-DA5BFFD99B8B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5106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79C1C61-5747-1145-9454-DA5BFFD99B8B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5481254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740972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0053010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277410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12.png"/><Relationship Id="rId4" Type="http://schemas.openxmlformats.org/officeDocument/2006/relationships/image" Target="../media/image1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6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Titelfolie">
    <p:bg>
      <p:bgRef idx="1002">
        <a:schemeClr val="bg2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-1" y="0"/>
            <a:ext cx="12189349" cy="6858000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auto">
          <a:xfrm>
            <a:off x="764447" y="648393"/>
            <a:ext cx="5331553" cy="1936627"/>
          </a:xfrm>
        </p:spPr>
        <p:txBody>
          <a:bodyPr anchor="b">
            <a:normAutofit/>
          </a:bodyPr>
          <a:lstStyle>
            <a:lvl1pPr algn="l">
              <a:defRPr sz="4400" b="1" i="0">
                <a:solidFill>
                  <a:srgbClr val="FCFCFC"/>
                </a:solidFill>
                <a:latin typeface="Chakra Petch SemiBold"/>
                <a:ea typeface="Helvetica Neue Light"/>
                <a:cs typeface="Chakra Petch SemiBold"/>
              </a:defRPr>
            </a:lvl1pPr>
          </a:lstStyle>
          <a:p>
            <a:pPr>
              <a:defRPr/>
            </a:pPr>
            <a:r>
              <a:rPr lang="de-DE"/>
              <a:t>Challenge XX:</a:t>
            </a:r>
            <a:br>
              <a:rPr lang="de-DE"/>
            </a:br>
            <a:r>
              <a:rPr lang="de-DE"/>
              <a:t>Name der Challenge</a:t>
            </a:r>
            <a:endParaRPr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auto">
          <a:xfrm>
            <a:off x="764447" y="2678233"/>
            <a:ext cx="5331553" cy="1366825"/>
          </a:xfrm>
        </p:spPr>
        <p:txBody>
          <a:bodyPr/>
          <a:lstStyle>
            <a:lvl1pPr marL="0" indent="0" algn="l">
              <a:buNone/>
              <a:defRPr sz="2000" b="0" i="0">
                <a:solidFill>
                  <a:srgbClr val="FCFCFC"/>
                </a:solidFill>
                <a:latin typeface="Lato Light"/>
                <a:ea typeface="Helvetica Neue Ligh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de-DE"/>
              <a:t>Inhalt der Challenge &amp; Zuständige*r Professor*in </a:t>
            </a:r>
            <a:endParaRPr/>
          </a:p>
        </p:txBody>
      </p:sp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chemeClr val="accent3">
              <a:alpha val="80919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chemeClr val="accent3">
              <a:alpha val="80919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2_Iphone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9532A48-467C-56B2-2FE0-6FA032D268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689344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281658" y="1545899"/>
            <a:ext cx="3110459" cy="4112888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8" name="Grafik 7" descr="Ein Bild, das Text, Monitor, Elektronik, Bildschirm enthält.&#10;&#10;Automatisch generierte Beschreibung"/>
          <p:cNvPicPr>
            <a:picLocks noChangeAspect="1"/>
          </p:cNvPicPr>
          <p:nvPr userDrawn="1"/>
        </p:nvPicPr>
        <p:blipFill>
          <a:blip r:embed="rId5"/>
          <a:stretch/>
        </p:blipFill>
        <p:spPr bwMode="auto">
          <a:xfrm rot="5400000">
            <a:off x="255414" y="1871068"/>
            <a:ext cx="5126031" cy="3447178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Folie mit Inhalte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A174F3E-253C-DB48-41B1-53826F9673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147206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8" y="1111184"/>
            <a:ext cx="5578252" cy="4351338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buFont typeface="Wingdings"/>
              <a:buChar char="§"/>
              <a:defRPr sz="2400" b="0" i="0">
                <a:latin typeface="Lato Light"/>
              </a:defRPr>
            </a:lvl1pPr>
            <a:lvl2pPr marL="685800" indent="-228600">
              <a:lnSpc>
                <a:spcPct val="100000"/>
              </a:lnSpc>
              <a:buFont typeface="Wingdings"/>
              <a:buChar char="§"/>
              <a:defRPr sz="2000" b="0" i="0">
                <a:latin typeface="Lato Light"/>
              </a:defRPr>
            </a:lvl2pPr>
            <a:lvl3pPr marL="1143000" indent="-228600">
              <a:lnSpc>
                <a:spcPct val="100000"/>
              </a:lnSpc>
              <a:buFont typeface="Wingdings"/>
              <a:buChar char="§"/>
              <a:defRPr sz="1800" b="0" i="0">
                <a:latin typeface="Lato Light"/>
              </a:defRPr>
            </a:lvl3pPr>
            <a:lvl4pPr marL="16002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4pPr>
            <a:lvl5pPr marL="20574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9" name="Rechteck 8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1_Folie mit Inhalte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F9049C3-95A3-BF23-BB46-284527D4A6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601929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8" y="1111184"/>
            <a:ext cx="5578252" cy="4351338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buFont typeface="Wingdings"/>
              <a:buChar char="§"/>
              <a:defRPr sz="2400" b="0" i="0">
                <a:latin typeface="Lato Light"/>
              </a:defRPr>
            </a:lvl1pPr>
            <a:lvl2pPr marL="685800" indent="-228600">
              <a:lnSpc>
                <a:spcPct val="100000"/>
              </a:lnSpc>
              <a:buFont typeface="Wingdings"/>
              <a:buChar char="§"/>
              <a:defRPr sz="2000" b="0" i="0">
                <a:latin typeface="Lato Light"/>
              </a:defRPr>
            </a:lvl2pPr>
            <a:lvl3pPr marL="1143000" indent="-228600">
              <a:lnSpc>
                <a:spcPct val="100000"/>
              </a:lnSpc>
              <a:buFont typeface="Wingdings"/>
              <a:buChar char="§"/>
              <a:defRPr sz="1800" b="0" i="0">
                <a:latin typeface="Lato Light"/>
              </a:defRPr>
            </a:lvl3pPr>
            <a:lvl4pPr marL="16002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4pPr>
            <a:lvl5pPr marL="20574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5" name="Rechteck 4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6" name="Rechteck 5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Folie mit Co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991824A-7600-74A5-C9AA-ACB0F764CE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70356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solidFill>
                  <a:srgbClr val="000000"/>
                </a:solidFill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 hasCustomPrompt="1"/>
          </p:nvPr>
        </p:nvSpPr>
        <p:spPr bwMode="auto">
          <a:xfrm>
            <a:off x="517748" y="1121866"/>
            <a:ext cx="5578252" cy="3811588"/>
          </a:xfrm>
        </p:spPr>
        <p:txBody>
          <a:bodyPr/>
          <a:lstStyle>
            <a:lvl1pPr marL="0" marR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 sz="1600">
                <a:latin typeface="Source Code Pro"/>
                <a:ea typeface="Source Code Pro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lvl="0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2" name="Rechteck 11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Folie mit Code_Ausnahmekomplettfüllend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DB3B170-C8D4-6CD8-C2C6-F5D7831CAA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956801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 hasCustomPrompt="1"/>
          </p:nvPr>
        </p:nvSpPr>
        <p:spPr bwMode="auto">
          <a:xfrm>
            <a:off x="517748" y="1056501"/>
            <a:ext cx="10515599" cy="5076311"/>
          </a:xfrm>
        </p:spPr>
        <p:txBody>
          <a:bodyPr/>
          <a:lstStyle>
            <a:lvl1pPr marL="0" marR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 sz="1600">
                <a:latin typeface="Source Code Pro"/>
                <a:ea typeface="Source Code Pro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endParaRPr lang="de-DE"/>
          </a:p>
          <a:p>
            <a:pPr lvl="0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2" name="Rechteck 11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el und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CDAE088-FF36-7AEF-DB69-0A1946A021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955379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4" name="Rechteck 3"/>
          <p:cNvSpPr/>
          <p:nvPr userDrawn="1"/>
        </p:nvSpPr>
        <p:spPr bwMode="auto">
          <a:xfrm>
            <a:off x="517748" y="1293593"/>
            <a:ext cx="5578252" cy="4541519"/>
          </a:xfrm>
          <a:prstGeom prst="rect">
            <a:avLst/>
          </a:prstGeom>
          <a:solidFill>
            <a:srgbClr val="F1F1F1">
              <a:alpha val="4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8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644061" y="1539581"/>
            <a:ext cx="5325626" cy="4049539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Macbook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B7F283E-D662-3DCD-3E38-085AD94CA2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864707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" y="1667152"/>
            <a:ext cx="5778708" cy="363187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16" name="Grafik 15" descr="Ein Bild, das Text, Monitor, Elektronik, Computer enthält.&#10;&#10;Automatisch generierte Beschreibung"/>
          <p:cNvPicPr>
            <a:picLocks noChangeAspect="1"/>
          </p:cNvPicPr>
          <p:nvPr userDrawn="1"/>
        </p:nvPicPr>
        <p:blipFill>
          <a:blip r:embed="rId5"/>
          <a:srcRect l="17792" b="8537"/>
          <a:stretch/>
        </p:blipFill>
        <p:spPr bwMode="auto">
          <a:xfrm>
            <a:off x="-1" y="1290252"/>
            <a:ext cx="7348451" cy="4720804"/>
          </a:xfrm>
          <a:prstGeom prst="rect">
            <a:avLst/>
          </a:prstGeom>
        </p:spPr>
      </p:pic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Iphone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99CEA8-6D3B-98DE-2E1F-89F849400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953494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656414" y="1174534"/>
            <a:ext cx="2323476" cy="489648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5"/>
          <a:stretch/>
        </p:blipFill>
        <p:spPr bwMode="auto">
          <a:xfrm>
            <a:off x="1502212" y="1015120"/>
            <a:ext cx="2646865" cy="5209082"/>
          </a:xfrm>
          <a:prstGeom prst="rect">
            <a:avLst/>
          </a:prstGeom>
        </p:spPr>
      </p:pic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Iphone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28D747-21F3-24D2-C6B4-60A10577AE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40272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026826" y="1710791"/>
            <a:ext cx="4542019" cy="3438330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8" name="Grafik 7" descr="Ein Bild, das Text, Monitor, Elektronik, Bildschirm enthält.&#10;&#10;Automatisch generierte Beschreibung"/>
          <p:cNvPicPr>
            <a:picLocks noChangeAspect="1"/>
          </p:cNvPicPr>
          <p:nvPr userDrawn="1"/>
        </p:nvPicPr>
        <p:blipFill>
          <a:blip r:embed="rId5"/>
          <a:stretch/>
        </p:blipFill>
        <p:spPr bwMode="auto">
          <a:xfrm>
            <a:off x="474491" y="1524265"/>
            <a:ext cx="5664765" cy="3809469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96033704"/>
              </p:ext>
            </p:extLst>
          </p:nvPr>
        </p:nvGraphicFramePr>
        <p:xfrm>
          <a:off x="1587" y="1587"/>
          <a:ext cx="122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2" name=""/>
                      <p:cNvPicPr/>
                      <p:nvPr/>
                    </p:nvPicPr>
                    <p:blipFill>
                      <a:blip r:embed="rId13"/>
                      <a:stretch/>
                    </p:blipFill>
                    <p:spPr bwMode="auto">
                      <a:xfrm>
                        <a:off x="1587" y="1587"/>
                        <a:ext cx="122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de-DE"/>
              <a:t>Mastertitelformat bearbeiten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auto"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8C445101-65EE-0048-9A14-29E3837D9AD2}" type="datetimeFigureOut">
              <a:rPr lang="de-DE"/>
              <a:t>01.03.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auto"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BA70E1B9-DFD7-0A42-890A-819B1ED8E014}" type="slidenum">
              <a:rPr lang="de-DE"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</p:sldLayoutIdLst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4" Type="http://schemas.openxmlformats.org/officeDocument/2006/relationships/image" Target="../media/image22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5" Type="http://schemas.openxmlformats.org/officeDocument/2006/relationships/image" Target="../media/image24.png"/><Relationship Id="rId4" Type="http://schemas.openxmlformats.org/officeDocument/2006/relationships/image" Target="../media/image23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6" Type="http://schemas.openxmlformats.org/officeDocument/2006/relationships/image" Target="../media/image24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23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6" Type="http://schemas.openxmlformats.org/officeDocument/2006/relationships/image" Target="../media/image24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24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4" Type="http://schemas.openxmlformats.org/officeDocument/2006/relationships/image" Target="../media/image25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4" Type="http://schemas.openxmlformats.org/officeDocument/2006/relationships/image" Target="../media/image26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4" Type="http://schemas.openxmlformats.org/officeDocument/2006/relationships/image" Target="../media/image26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5" Type="http://schemas.openxmlformats.org/officeDocument/2006/relationships/image" Target="../media/image28.jpeg"/><Relationship Id="rId4" Type="http://schemas.openxmlformats.org/officeDocument/2006/relationships/image" Target="../media/image27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7" Type="http://schemas.openxmlformats.org/officeDocument/2006/relationships/image" Target="../media/image3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Relationship Id="rId6" Type="http://schemas.openxmlformats.org/officeDocument/2006/relationships/image" Target="../media/image31.jpeg"/><Relationship Id="rId5" Type="http://schemas.openxmlformats.org/officeDocument/2006/relationships/image" Target="../media/image30.jpeg"/><Relationship Id="rId4" Type="http://schemas.openxmlformats.org/officeDocument/2006/relationships/image" Target="../media/image29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6.xml"/><Relationship Id="rId4" Type="http://schemas.openxmlformats.org/officeDocument/2006/relationships/image" Target="../media/image33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4" Type="http://schemas.openxmlformats.org/officeDocument/2006/relationships/image" Target="../media/image15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4" Type="http://schemas.openxmlformats.org/officeDocument/2006/relationships/image" Target="../media/image16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5" Type="http://schemas.openxmlformats.org/officeDocument/2006/relationships/image" Target="../media/image18.png"/><Relationship Id="rId4" Type="http://schemas.openxmlformats.org/officeDocument/2006/relationships/image" Target="../media/image17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5" Type="http://schemas.openxmlformats.org/officeDocument/2006/relationships/image" Target="../media/image19.png"/><Relationship Id="rId4" Type="http://schemas.openxmlformats.org/officeDocument/2006/relationships/image" Target="../media/image17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5" Type="http://schemas.openxmlformats.org/officeDocument/2006/relationships/image" Target="../media/image20.png"/><Relationship Id="rId4" Type="http://schemas.openxmlformats.org/officeDocument/2006/relationships/image" Target="../media/image17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5" Type="http://schemas.openxmlformats.org/officeDocument/2006/relationships/image" Target="../media/image21.png"/><Relationship Id="rId4" Type="http://schemas.openxmlformats.org/officeDocument/2006/relationships/image" Target="../media/image17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62870031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 bwMode="auto">
          <a:xfrm>
            <a:off x="764447" y="2040732"/>
            <a:ext cx="7347777" cy="812204"/>
          </a:xfrm>
        </p:spPr>
        <p:txBody>
          <a:bodyPr vert="horz" anchor="t">
            <a:normAutofit fontScale="90000"/>
          </a:bodyPr>
          <a:lstStyle/>
          <a:p>
            <a:pPr>
              <a:defRPr/>
            </a:pPr>
            <a:r>
              <a:rPr lang="de-DE" dirty="0">
                <a:latin typeface="Chakra Petch"/>
                <a:cs typeface="Chakra Petch"/>
              </a:rPr>
              <a:t>Digital Innovation – </a:t>
            </a:r>
            <a:r>
              <a:rPr lang="de-DE" dirty="0" err="1">
                <a:latin typeface="Chakra Petch"/>
                <a:cs typeface="Chakra Petch"/>
              </a:rPr>
              <a:t>How</a:t>
            </a:r>
            <a:r>
              <a:rPr lang="de-DE" dirty="0">
                <a:latin typeface="Chakra Petch"/>
                <a:cs typeface="Chakra Petch"/>
              </a:rPr>
              <a:t> </a:t>
            </a:r>
            <a:r>
              <a:rPr lang="de-DE" dirty="0" err="1">
                <a:latin typeface="Chakra Petch"/>
                <a:cs typeface="Chakra Petch"/>
              </a:rPr>
              <a:t>to</a:t>
            </a:r>
            <a:r>
              <a:rPr lang="de-DE" dirty="0">
                <a:latin typeface="Chakra Petch"/>
                <a:cs typeface="Chakra Petch"/>
              </a:rPr>
              <a:t> </a:t>
            </a:r>
            <a:r>
              <a:rPr lang="de-DE" dirty="0" err="1">
                <a:latin typeface="Chakra Petch"/>
                <a:cs typeface="Chakra Petch"/>
              </a:rPr>
              <a:t>run</a:t>
            </a:r>
            <a:r>
              <a:rPr lang="de-DE" dirty="0">
                <a:latin typeface="Chakra Petch"/>
                <a:cs typeface="Chakra Petch"/>
              </a:rPr>
              <a:t> an </a:t>
            </a:r>
            <a:r>
              <a:rPr lang="de-DE" dirty="0" err="1">
                <a:latin typeface="Chakra Petch"/>
                <a:cs typeface="Chakra Petch"/>
              </a:rPr>
              <a:t>innovation</a:t>
            </a:r>
            <a:r>
              <a:rPr lang="de-DE" dirty="0">
                <a:latin typeface="Chakra Petch"/>
                <a:cs typeface="Chakra Petch"/>
              </a:rPr>
              <a:t> </a:t>
            </a:r>
            <a:r>
              <a:rPr lang="de-DE" dirty="0" err="1">
                <a:latin typeface="Chakra Petch"/>
                <a:cs typeface="Chakra Petch"/>
              </a:rPr>
              <a:t>project</a:t>
            </a:r>
            <a:endParaRPr dirty="0">
              <a:latin typeface="Chakra Petch"/>
              <a:cs typeface="Chakra Petch"/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auto">
          <a:xfrm>
            <a:off x="764447" y="2678233"/>
            <a:ext cx="4114851" cy="1366825"/>
          </a:xfrm>
        </p:spPr>
        <p:txBody>
          <a:bodyPr>
            <a:normAutofit/>
          </a:bodyPr>
          <a:lstStyle/>
          <a:p>
            <a:pPr>
              <a:defRPr/>
            </a:pPr>
            <a:endParaRPr lang="de-DE" dirty="0">
              <a:latin typeface="Lato Light"/>
              <a:ea typeface="Roboto Light"/>
              <a:cs typeface="Helvetica Neue Condensed Black"/>
            </a:endParaRPr>
          </a:p>
          <a:p>
            <a:pPr>
              <a:defRPr/>
            </a:pPr>
            <a:endParaRPr lang="de-DE" dirty="0">
              <a:latin typeface="Lato Light"/>
              <a:ea typeface="Roboto Light"/>
              <a:cs typeface="Helvetica Neue Condensed Black"/>
            </a:endParaRPr>
          </a:p>
          <a:p>
            <a:pPr>
              <a:defRPr/>
            </a:pPr>
            <a:r>
              <a:rPr lang="de-DE" dirty="0">
                <a:latin typeface="Lato Light"/>
                <a:ea typeface="Roboto Light"/>
                <a:cs typeface="Helvetica Neue Condensed Black"/>
              </a:rPr>
              <a:t>Prof. Dr. Markus Heckner</a:t>
            </a:r>
            <a:endParaRPr lang="de-DE" dirty="0">
              <a:latin typeface="Lato Light"/>
              <a:ea typeface="Roboto Light"/>
              <a:cs typeface="HELVETICA NEUE CONDENSED BLACK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 bwMode="auto">
          <a:xfrm>
            <a:off x="-96689" y="2060848"/>
            <a:ext cx="7704853" cy="576064"/>
          </a:xfrm>
          <a:prstGeom prst="rect">
            <a:avLst/>
          </a:prstGeom>
          <a:solidFill>
            <a:srgbClr val="C6E4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de-DE"/>
              <a:t>Agenda </a:t>
            </a:r>
            <a:endParaRPr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7" y="1111183"/>
            <a:ext cx="8674595" cy="4911547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de-DE" dirty="0"/>
              <a:t>Innovationsprozess</a:t>
            </a:r>
          </a:p>
          <a:p>
            <a:pPr>
              <a:defRPr/>
            </a:pPr>
            <a:r>
              <a:rPr lang="de-DE" dirty="0"/>
              <a:t>Templates</a:t>
            </a:r>
          </a:p>
          <a:p>
            <a:pPr>
              <a:defRPr/>
            </a:pPr>
            <a:r>
              <a:rPr lang="de-DE" dirty="0"/>
              <a:t>Hilfsmittel - Innovation Boards</a:t>
            </a:r>
          </a:p>
          <a:p>
            <a:pPr>
              <a:defRPr/>
            </a:pPr>
            <a:r>
              <a:rPr lang="de-DE" dirty="0"/>
              <a:t>Beispielhafte Wege durch ein Innovationsprojekt</a:t>
            </a:r>
          </a:p>
          <a:p>
            <a:pPr>
              <a:defRPr/>
            </a:pPr>
            <a:r>
              <a:rPr lang="de-DE" dirty="0"/>
              <a:t>Innovation Lab</a:t>
            </a:r>
          </a:p>
          <a:p>
            <a:pPr>
              <a:defRPr/>
            </a:pPr>
            <a:r>
              <a:rPr lang="de-DE" dirty="0"/>
              <a:t>Fazit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</p:txBody>
      </p:sp>
      <p:cxnSp>
        <p:nvCxnSpPr>
          <p:cNvPr id="6" name="Gerader Verbinder 5"/>
          <p:cNvCxnSpPr>
            <a:cxnSpLocks/>
          </p:cNvCxnSpPr>
          <p:nvPr/>
        </p:nvCxnSpPr>
        <p:spPr bwMode="auto">
          <a:xfrm>
            <a:off x="263352" y="-27384"/>
            <a:ext cx="0" cy="6957392"/>
          </a:xfrm>
          <a:prstGeom prst="line">
            <a:avLst/>
          </a:prstGeom>
          <a:ln w="57150">
            <a:solidFill>
              <a:srgbClr val="3B9C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10792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AA36CAE-CD7A-24F2-55F8-C69086DA79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AA36CAE-CD7A-24F2-55F8-C69086DA79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4DA5552-E89D-ADA1-1958-804C26002D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Innovation Board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36920A-83DE-B889-0F45-3AFE5E4ED7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Dienen zur Dokumentation des Fortschritts des Innovationsprozesses</a:t>
            </a:r>
          </a:p>
          <a:p>
            <a:r>
              <a:rPr lang="de-DE" dirty="0"/>
              <a:t>Pro Phase (</a:t>
            </a:r>
            <a:r>
              <a:rPr lang="de-DE" dirty="0" err="1"/>
              <a:t>Explore</a:t>
            </a:r>
            <a:r>
              <a:rPr lang="de-DE" dirty="0"/>
              <a:t>, Create, </a:t>
            </a:r>
            <a:r>
              <a:rPr lang="de-DE" dirty="0" err="1"/>
              <a:t>Evaluate</a:t>
            </a:r>
            <a:r>
              <a:rPr lang="de-DE" dirty="0"/>
              <a:t>) existiert ein Board</a:t>
            </a:r>
          </a:p>
          <a:p>
            <a:r>
              <a:rPr lang="de-DE" dirty="0"/>
              <a:t>Die Felder der Boards lassen sich mit Erkenntnisse der eingesetzten Methoden befüllen</a:t>
            </a:r>
          </a:p>
        </p:txBody>
      </p:sp>
    </p:spTree>
    <p:extLst>
      <p:ext uri="{BB962C8B-B14F-4D97-AF65-F5344CB8AC3E}">
        <p14:creationId xmlns:p14="http://schemas.microsoft.com/office/powerpoint/2010/main" val="15349508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AECA8C6-97FD-F5FA-5E01-98432B1ED4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AECA8C6-97FD-F5FA-5E01-98432B1ED4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0F1219D-8119-F631-881A-173197C837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Beispiel Innovation Board - Explore</a:t>
            </a:r>
          </a:p>
        </p:txBody>
      </p:sp>
      <p:pic>
        <p:nvPicPr>
          <p:cNvPr id="10" name="Picture 9" descr="Calendar&#10;&#10;Description automatically generated">
            <a:extLst>
              <a:ext uri="{FF2B5EF4-FFF2-40B4-BE49-F238E27FC236}">
                <a16:creationId xmlns:a16="http://schemas.microsoft.com/office/drawing/2014/main" id="{283E87E2-BBEB-9C38-EB70-C7791F5373F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96972" y="980728"/>
            <a:ext cx="3998056" cy="5661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236915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AECA8C6-97FD-F5FA-5E01-98432B1ED4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AECA8C6-97FD-F5FA-5E01-98432B1ED4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0F1219D-8119-F631-881A-173197C837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Beispiel Innovation Board - Explore</a:t>
            </a:r>
          </a:p>
        </p:txBody>
      </p:sp>
      <p:pic>
        <p:nvPicPr>
          <p:cNvPr id="3" name="Picture 2" descr="Calendar&#10;&#10;Description automatically generated">
            <a:extLst>
              <a:ext uri="{FF2B5EF4-FFF2-40B4-BE49-F238E27FC236}">
                <a16:creationId xmlns:a16="http://schemas.microsoft.com/office/drawing/2014/main" id="{51AD307F-AEC3-FC1B-F526-DBED7A7B05C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48334" b="4986"/>
          <a:stretch/>
        </p:blipFill>
        <p:spPr>
          <a:xfrm>
            <a:off x="263352" y="1412776"/>
            <a:ext cx="6754291" cy="4464496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73C2597B-20AD-F373-C1CF-4E23E7B95E5F}"/>
              </a:ext>
            </a:extLst>
          </p:cNvPr>
          <p:cNvSpPr/>
          <p:nvPr/>
        </p:nvSpPr>
        <p:spPr>
          <a:xfrm>
            <a:off x="623392" y="1556793"/>
            <a:ext cx="6048672" cy="1745999"/>
          </a:xfrm>
          <a:prstGeom prst="rect">
            <a:avLst/>
          </a:prstGeom>
          <a:solidFill>
            <a:schemeClr val="accent4">
              <a:lumMod val="75000"/>
              <a:alpha val="30827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D4AE06E-35A1-015D-37F0-87B4253803CA}"/>
              </a:ext>
            </a:extLst>
          </p:cNvPr>
          <p:cNvSpPr/>
          <p:nvPr/>
        </p:nvSpPr>
        <p:spPr>
          <a:xfrm>
            <a:off x="623392" y="3302792"/>
            <a:ext cx="6048672" cy="1674000"/>
          </a:xfrm>
          <a:prstGeom prst="rect">
            <a:avLst/>
          </a:prstGeom>
          <a:solidFill>
            <a:schemeClr val="accent4">
              <a:lumMod val="75000"/>
              <a:alpha val="30827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9C7F596-14D8-AAB8-DDB0-28405D8BC106}"/>
              </a:ext>
            </a:extLst>
          </p:cNvPr>
          <p:cNvSpPr txBox="1"/>
          <p:nvPr/>
        </p:nvSpPr>
        <p:spPr>
          <a:xfrm>
            <a:off x="6888088" y="1548031"/>
            <a:ext cx="139814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 err="1">
                <a:latin typeface="Lato Light"/>
                <a:ea typeface="+mj-ea"/>
                <a:cs typeface="+mj-cs"/>
              </a:rPr>
              <a:t>Methoden</a:t>
            </a:r>
            <a:r>
              <a:rPr lang="en-GB" sz="2000" dirty="0">
                <a:latin typeface="Lato Light"/>
                <a:ea typeface="+mj-ea"/>
                <a:cs typeface="+mj-cs"/>
              </a:rPr>
              <a:t>:</a:t>
            </a:r>
            <a:endParaRPr lang="en-GB" sz="3500" dirty="0">
              <a:latin typeface="Lato Light"/>
              <a:ea typeface="+mj-ea"/>
              <a:cs typeface="+mj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FF98D63-F370-0DD0-9FDE-6CAA0B457FB4}"/>
              </a:ext>
            </a:extLst>
          </p:cNvPr>
          <p:cNvSpPr txBox="1"/>
          <p:nvPr/>
        </p:nvSpPr>
        <p:spPr>
          <a:xfrm>
            <a:off x="7017643" y="2064956"/>
            <a:ext cx="2789866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88913" indent="-188913">
              <a:buFont typeface="Wingdings" pitchFamily="2" charset="2"/>
              <a:buChar char="§"/>
            </a:pPr>
            <a:r>
              <a:rPr lang="en-GB" sz="2000" dirty="0">
                <a:latin typeface="Lato Light"/>
                <a:ea typeface="+mj-ea"/>
                <a:cs typeface="+mj-cs"/>
              </a:rPr>
              <a:t>Qualitative Interviews</a:t>
            </a:r>
          </a:p>
          <a:p>
            <a:pPr marL="188913" indent="-188913">
              <a:buFont typeface="Wingdings" pitchFamily="2" charset="2"/>
              <a:buChar char="§"/>
            </a:pPr>
            <a:r>
              <a:rPr lang="en-GB" sz="2000" dirty="0" err="1">
                <a:latin typeface="Lato Light"/>
                <a:ea typeface="+mj-ea"/>
                <a:cs typeface="+mj-cs"/>
              </a:rPr>
              <a:t>Beobachtung</a:t>
            </a:r>
            <a:endParaRPr lang="en-GB" sz="2000" dirty="0">
              <a:latin typeface="Lato Light"/>
              <a:ea typeface="+mj-ea"/>
              <a:cs typeface="+mj-cs"/>
            </a:endParaRPr>
          </a:p>
          <a:p>
            <a:pPr marL="188913" indent="-188913">
              <a:buFont typeface="Wingdings" pitchFamily="2" charset="2"/>
              <a:buChar char="§"/>
            </a:pPr>
            <a:r>
              <a:rPr lang="en-GB" sz="2000" dirty="0" err="1">
                <a:latin typeface="Lato Light"/>
                <a:ea typeface="+mj-ea"/>
                <a:cs typeface="+mj-cs"/>
              </a:rPr>
              <a:t>Eintauchen</a:t>
            </a:r>
            <a:endParaRPr lang="en-GB" sz="2000" dirty="0">
              <a:latin typeface="Lato Ligh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7373538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 animBg="1"/>
      <p:bldP spid="8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AECA8C6-97FD-F5FA-5E01-98432B1ED4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AECA8C6-97FD-F5FA-5E01-98432B1ED4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0F1219D-8119-F631-881A-173197C837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Beispiel Innovation Board - Explore</a:t>
            </a:r>
          </a:p>
        </p:txBody>
      </p:sp>
      <p:pic>
        <p:nvPicPr>
          <p:cNvPr id="3" name="Picture 2" descr="Calendar&#10;&#10;Description automatically generated">
            <a:extLst>
              <a:ext uri="{FF2B5EF4-FFF2-40B4-BE49-F238E27FC236}">
                <a16:creationId xmlns:a16="http://schemas.microsoft.com/office/drawing/2014/main" id="{51AD307F-AEC3-FC1B-F526-DBED7A7B05C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48334" b="4986"/>
          <a:stretch/>
        </p:blipFill>
        <p:spPr>
          <a:xfrm>
            <a:off x="263352" y="1412776"/>
            <a:ext cx="6754291" cy="446449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AD4AE06E-35A1-015D-37F0-87B4253803CA}"/>
              </a:ext>
            </a:extLst>
          </p:cNvPr>
          <p:cNvSpPr/>
          <p:nvPr/>
        </p:nvSpPr>
        <p:spPr>
          <a:xfrm flipV="1">
            <a:off x="623392" y="4976792"/>
            <a:ext cx="6048672" cy="828000"/>
          </a:xfrm>
          <a:prstGeom prst="rect">
            <a:avLst/>
          </a:prstGeom>
          <a:solidFill>
            <a:schemeClr val="accent4">
              <a:lumMod val="75000"/>
              <a:alpha val="30827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9C7F596-14D8-AAB8-DDB0-28405D8BC106}"/>
              </a:ext>
            </a:extLst>
          </p:cNvPr>
          <p:cNvSpPr txBox="1"/>
          <p:nvPr/>
        </p:nvSpPr>
        <p:spPr>
          <a:xfrm>
            <a:off x="6888088" y="1548031"/>
            <a:ext cx="139814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 err="1">
                <a:latin typeface="Lato Light"/>
                <a:ea typeface="+mj-ea"/>
                <a:cs typeface="+mj-cs"/>
              </a:rPr>
              <a:t>Methoden</a:t>
            </a:r>
            <a:r>
              <a:rPr lang="en-GB" sz="2000" dirty="0">
                <a:latin typeface="Lato Light"/>
                <a:ea typeface="+mj-ea"/>
                <a:cs typeface="+mj-cs"/>
              </a:rPr>
              <a:t>:</a:t>
            </a:r>
            <a:endParaRPr lang="en-GB" sz="3500" dirty="0">
              <a:latin typeface="Lato Light"/>
              <a:ea typeface="+mj-ea"/>
              <a:cs typeface="+mj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FF98D63-F370-0DD0-9FDE-6CAA0B457FB4}"/>
              </a:ext>
            </a:extLst>
          </p:cNvPr>
          <p:cNvSpPr txBox="1"/>
          <p:nvPr/>
        </p:nvSpPr>
        <p:spPr>
          <a:xfrm>
            <a:off x="7017643" y="2064956"/>
            <a:ext cx="424859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88913" indent="-188913">
              <a:buFont typeface="Wingdings" pitchFamily="2" charset="2"/>
              <a:buChar char="§"/>
            </a:pPr>
            <a:r>
              <a:rPr lang="en-GB" sz="2000" dirty="0">
                <a:latin typeface="Lato Light"/>
                <a:ea typeface="+mj-ea"/>
                <a:cs typeface="+mj-cs"/>
              </a:rPr>
              <a:t>How Might We </a:t>
            </a:r>
            <a:r>
              <a:rPr lang="en-GB" sz="2000" dirty="0" err="1">
                <a:latin typeface="Lato Light"/>
                <a:ea typeface="+mj-ea"/>
                <a:cs typeface="+mj-cs"/>
              </a:rPr>
              <a:t>Frage</a:t>
            </a:r>
            <a:r>
              <a:rPr lang="en-GB" sz="2000" dirty="0">
                <a:latin typeface="Lato Light"/>
                <a:ea typeface="+mj-ea"/>
                <a:cs typeface="+mj-cs"/>
              </a:rPr>
              <a:t> (</a:t>
            </a:r>
            <a:r>
              <a:rPr lang="en-GB" sz="2000" dirty="0" err="1">
                <a:latin typeface="Lato Light"/>
                <a:ea typeface="+mj-ea"/>
                <a:cs typeface="+mj-cs"/>
              </a:rPr>
              <a:t>Standpunkt</a:t>
            </a:r>
            <a:r>
              <a:rPr lang="en-GB" sz="2000" dirty="0">
                <a:latin typeface="Lato Light"/>
                <a:ea typeface="+mj-ea"/>
                <a:cs typeface="+mj-cs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8141995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0FFB126-B2C2-987D-C647-6F6D12B1FD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0FFB126-B2C2-987D-C647-6F6D12B1FD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7AF8272-895B-D24E-22A6-505DA2E99A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392" y="2708920"/>
            <a:ext cx="10515600" cy="410729"/>
          </a:xfrm>
        </p:spPr>
        <p:txBody>
          <a:bodyPr vert="horz"/>
          <a:lstStyle/>
          <a:p>
            <a:r>
              <a:rPr lang="en-DE" dirty="0"/>
              <a:t>Mehr Informationen zu den Boards befinden sich in der Note zu diesem Video.</a:t>
            </a:r>
          </a:p>
        </p:txBody>
      </p:sp>
    </p:spTree>
    <p:extLst>
      <p:ext uri="{BB962C8B-B14F-4D97-AF65-F5344CB8AC3E}">
        <p14:creationId xmlns:p14="http://schemas.microsoft.com/office/powerpoint/2010/main" val="372305338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 bwMode="auto">
          <a:xfrm>
            <a:off x="-96689" y="2492896"/>
            <a:ext cx="7704853" cy="576064"/>
          </a:xfrm>
          <a:prstGeom prst="rect">
            <a:avLst/>
          </a:prstGeom>
          <a:solidFill>
            <a:srgbClr val="C6E4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de-DE"/>
              <a:t>Agenda </a:t>
            </a:r>
            <a:endParaRPr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7" y="1111183"/>
            <a:ext cx="8674595" cy="4911547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de-DE" dirty="0"/>
              <a:t>Innovationsprozess</a:t>
            </a:r>
          </a:p>
          <a:p>
            <a:pPr>
              <a:defRPr/>
            </a:pPr>
            <a:r>
              <a:rPr lang="de-DE" dirty="0"/>
              <a:t>Templates</a:t>
            </a:r>
          </a:p>
          <a:p>
            <a:pPr>
              <a:defRPr/>
            </a:pPr>
            <a:r>
              <a:rPr lang="de-DE" dirty="0"/>
              <a:t>Hilfsmittel - Innovation Boards</a:t>
            </a:r>
          </a:p>
          <a:p>
            <a:pPr>
              <a:defRPr/>
            </a:pPr>
            <a:r>
              <a:rPr lang="de-DE" dirty="0"/>
              <a:t>Beispielhafte Wege durch ein Innovationsprojekt</a:t>
            </a:r>
          </a:p>
          <a:p>
            <a:pPr>
              <a:defRPr/>
            </a:pPr>
            <a:r>
              <a:rPr lang="de-DE" dirty="0"/>
              <a:t>Innovation Lab</a:t>
            </a:r>
          </a:p>
          <a:p>
            <a:pPr>
              <a:defRPr/>
            </a:pPr>
            <a:r>
              <a:rPr lang="de-DE" dirty="0"/>
              <a:t>Fazit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</p:txBody>
      </p:sp>
      <p:cxnSp>
        <p:nvCxnSpPr>
          <p:cNvPr id="6" name="Gerader Verbinder 5"/>
          <p:cNvCxnSpPr>
            <a:cxnSpLocks/>
          </p:cNvCxnSpPr>
          <p:nvPr/>
        </p:nvCxnSpPr>
        <p:spPr bwMode="auto">
          <a:xfrm>
            <a:off x="263352" y="-27384"/>
            <a:ext cx="0" cy="6957392"/>
          </a:xfrm>
          <a:prstGeom prst="line">
            <a:avLst/>
          </a:prstGeom>
          <a:ln w="57150">
            <a:solidFill>
              <a:srgbClr val="3B9C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19719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49EAC3E-8CCE-916E-082B-4589B49747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641702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7DA97EB-7EE2-7D72-C0A0-22C6D92AF8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140" y="2420888"/>
            <a:ext cx="10515600" cy="410729"/>
          </a:xfrm>
        </p:spPr>
        <p:txBody>
          <a:bodyPr vert="horz"/>
          <a:lstStyle/>
          <a:p>
            <a:r>
              <a:rPr lang="de-DE" dirty="0"/>
              <a:t>Smarte Küche für ältere Mensch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458D6A-894C-A20C-4061-2E7BEA89307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84176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49EAC3E-8CCE-916E-082B-4589B49747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085219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49EAC3E-8CCE-916E-082B-4589B49747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7DA97EB-7EE2-7D72-C0A0-22C6D92AF8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140" y="2420888"/>
            <a:ext cx="10515600" cy="410729"/>
          </a:xfrm>
        </p:spPr>
        <p:txBody>
          <a:bodyPr vert="horz"/>
          <a:lstStyle/>
          <a:p>
            <a:r>
              <a:rPr lang="de-DE" dirty="0"/>
              <a:t>Foodsharing im Wohnheim</a:t>
            </a:r>
          </a:p>
        </p:txBody>
      </p:sp>
    </p:spTree>
    <p:extLst>
      <p:ext uri="{BB962C8B-B14F-4D97-AF65-F5344CB8AC3E}">
        <p14:creationId xmlns:p14="http://schemas.microsoft.com/office/powerpoint/2010/main" val="330102123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 bwMode="auto">
          <a:xfrm>
            <a:off x="-96689" y="2996952"/>
            <a:ext cx="7704853" cy="576064"/>
          </a:xfrm>
          <a:prstGeom prst="rect">
            <a:avLst/>
          </a:prstGeom>
          <a:solidFill>
            <a:srgbClr val="C6E4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de-DE"/>
              <a:t>Agenda </a:t>
            </a:r>
            <a:endParaRPr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7" y="1111183"/>
            <a:ext cx="8674595" cy="4911547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de-DE" dirty="0"/>
              <a:t>Innovationsprozess</a:t>
            </a:r>
          </a:p>
          <a:p>
            <a:pPr>
              <a:defRPr/>
            </a:pPr>
            <a:r>
              <a:rPr lang="de-DE" dirty="0"/>
              <a:t>Templates</a:t>
            </a:r>
          </a:p>
          <a:p>
            <a:pPr>
              <a:defRPr/>
            </a:pPr>
            <a:r>
              <a:rPr lang="de-DE" dirty="0"/>
              <a:t>Hilfsmittel - Innovation Boards</a:t>
            </a:r>
          </a:p>
          <a:p>
            <a:pPr>
              <a:defRPr/>
            </a:pPr>
            <a:r>
              <a:rPr lang="de-DE" dirty="0"/>
              <a:t>Beispielhafte Wege durch ein Innovationsprojekt</a:t>
            </a:r>
          </a:p>
          <a:p>
            <a:pPr>
              <a:defRPr/>
            </a:pPr>
            <a:r>
              <a:rPr lang="de-DE" dirty="0"/>
              <a:t>Innovation Lab</a:t>
            </a:r>
          </a:p>
          <a:p>
            <a:pPr>
              <a:defRPr/>
            </a:pPr>
            <a:r>
              <a:rPr lang="de-DE" dirty="0"/>
              <a:t>Fazit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</p:txBody>
      </p:sp>
      <p:cxnSp>
        <p:nvCxnSpPr>
          <p:cNvPr id="6" name="Gerader Verbinder 5"/>
          <p:cNvCxnSpPr>
            <a:cxnSpLocks/>
          </p:cNvCxnSpPr>
          <p:nvPr/>
        </p:nvCxnSpPr>
        <p:spPr bwMode="auto">
          <a:xfrm>
            <a:off x="263352" y="-27384"/>
            <a:ext cx="0" cy="6957392"/>
          </a:xfrm>
          <a:prstGeom prst="line">
            <a:avLst/>
          </a:prstGeom>
          <a:ln w="57150">
            <a:solidFill>
              <a:srgbClr val="3B9C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26722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 bwMode="auto">
          <a:xfrm>
            <a:off x="-96689" y="1052736"/>
            <a:ext cx="7704853" cy="576064"/>
          </a:xfrm>
          <a:prstGeom prst="rect">
            <a:avLst/>
          </a:prstGeom>
          <a:solidFill>
            <a:srgbClr val="C6E4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de-DE"/>
              <a:t>Agenda </a:t>
            </a:r>
            <a:endParaRPr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7" y="1111183"/>
            <a:ext cx="8674595" cy="4911547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de-DE" dirty="0"/>
              <a:t>Innovationsprozess</a:t>
            </a:r>
          </a:p>
          <a:p>
            <a:pPr>
              <a:defRPr/>
            </a:pPr>
            <a:r>
              <a:rPr lang="de-DE" dirty="0"/>
              <a:t>Templates</a:t>
            </a:r>
          </a:p>
          <a:p>
            <a:pPr>
              <a:defRPr/>
            </a:pPr>
            <a:r>
              <a:rPr lang="de-DE" dirty="0"/>
              <a:t>Hilfsmittel - Innovation Boards</a:t>
            </a:r>
          </a:p>
          <a:p>
            <a:pPr>
              <a:defRPr/>
            </a:pPr>
            <a:r>
              <a:rPr lang="de-DE" dirty="0"/>
              <a:t>Beispielhafte Wege durch ein Innovationsprojekt</a:t>
            </a:r>
          </a:p>
          <a:p>
            <a:pPr>
              <a:defRPr/>
            </a:pPr>
            <a:r>
              <a:rPr lang="de-DE" dirty="0"/>
              <a:t>Innovation Lab</a:t>
            </a:r>
          </a:p>
          <a:p>
            <a:pPr>
              <a:defRPr/>
            </a:pPr>
            <a:r>
              <a:rPr lang="de-DE" dirty="0"/>
              <a:t>Fazit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</p:txBody>
      </p:sp>
      <p:cxnSp>
        <p:nvCxnSpPr>
          <p:cNvPr id="6" name="Gerader Verbinder 5"/>
          <p:cNvCxnSpPr>
            <a:cxnSpLocks/>
          </p:cNvCxnSpPr>
          <p:nvPr/>
        </p:nvCxnSpPr>
        <p:spPr bwMode="auto">
          <a:xfrm>
            <a:off x="263352" y="-27384"/>
            <a:ext cx="0" cy="6957392"/>
          </a:xfrm>
          <a:prstGeom prst="line">
            <a:avLst/>
          </a:prstGeom>
          <a:ln w="57150">
            <a:solidFill>
              <a:srgbClr val="3B9C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16049F5-2403-D3ED-3A12-3A45197D36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43574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8F1A5E9-806C-6776-F50B-A685558DFD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Das Innovation Lab K219 (Gebäude IM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F30DFD-9BD6-AEF9-F30D-50F1FF93BB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340768"/>
            <a:ext cx="5578252" cy="4121754"/>
          </a:xfrm>
        </p:spPr>
        <p:txBody>
          <a:bodyPr>
            <a:normAutofit fontScale="92500" lnSpcReduction="20000"/>
          </a:bodyPr>
          <a:lstStyle/>
          <a:p>
            <a:r>
              <a:rPr lang="de-DE" dirty="0"/>
              <a:t>Raum für Innovationsprojekte</a:t>
            </a:r>
          </a:p>
          <a:p>
            <a:r>
              <a:rPr lang="de-DE" dirty="0"/>
              <a:t>Flexible Möblierung mit verschiebbaren Stehtischen und Whiteboards</a:t>
            </a:r>
          </a:p>
          <a:p>
            <a:r>
              <a:rPr lang="de-DE" dirty="0"/>
              <a:t>Post-</a:t>
            </a:r>
            <a:r>
              <a:rPr lang="de-DE" dirty="0" err="1"/>
              <a:t>Its</a:t>
            </a:r>
            <a:r>
              <a:rPr lang="de-DE" dirty="0"/>
              <a:t> und anderes Moderationsmaterial für Diskussionen und kreative Teamarbeit</a:t>
            </a:r>
          </a:p>
          <a:p>
            <a:r>
              <a:rPr lang="de-DE" dirty="0" err="1"/>
              <a:t>Prototypingmaterialien</a:t>
            </a:r>
            <a:r>
              <a:rPr lang="de-DE" dirty="0"/>
              <a:t> für das Ausarbeiten der Ideen</a:t>
            </a:r>
          </a:p>
          <a:p>
            <a:r>
              <a:rPr lang="de-DE" dirty="0"/>
              <a:t>Templates und Innovation Boards ausgedruckt zur Unterstützung des Innovationsprozesses</a:t>
            </a:r>
          </a:p>
          <a:p>
            <a:r>
              <a:rPr lang="de-DE" dirty="0"/>
              <a:t>Open Lab – An zwei Tagen für Projekte geöffnet</a:t>
            </a:r>
          </a:p>
          <a:p>
            <a:endParaRPr lang="de-DE" dirty="0"/>
          </a:p>
          <a:p>
            <a:endParaRPr lang="de-DE" dirty="0"/>
          </a:p>
        </p:txBody>
      </p:sp>
      <p:pic>
        <p:nvPicPr>
          <p:cNvPr id="10" name="Picture 9" descr="A picture containing text, floor, indoor, wall&#10;&#10;Description automatically generated">
            <a:extLst>
              <a:ext uri="{FF2B5EF4-FFF2-40B4-BE49-F238E27FC236}">
                <a16:creationId xmlns:a16="http://schemas.microsoft.com/office/drawing/2014/main" id="{052AD535-060B-050D-116A-48A5BA35FEBC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0056" y="1183104"/>
            <a:ext cx="5213445" cy="3910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088460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3B06158-A9C4-3437-F169-657CAC27D92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018030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5FD96BB-8CF2-A32F-3EFB-A159EDF5B1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Innovation Lab</a:t>
            </a:r>
          </a:p>
        </p:txBody>
      </p:sp>
      <p:pic>
        <p:nvPicPr>
          <p:cNvPr id="7" name="Picture 6" descr="A room with desks and chairs&#10;&#10;Description automatically generated with low confidence">
            <a:extLst>
              <a:ext uri="{FF2B5EF4-FFF2-40B4-BE49-F238E27FC236}">
                <a16:creationId xmlns:a16="http://schemas.microsoft.com/office/drawing/2014/main" id="{1B08187A-7323-68A6-D05C-AC6E2487EFC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5205" y="1191326"/>
            <a:ext cx="5254112" cy="4475347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F034458C-1C05-53F3-DAA0-C5AD641C118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08435" y="1191326"/>
            <a:ext cx="3479971" cy="1951554"/>
          </a:xfrm>
          <a:prstGeom prst="rect">
            <a:avLst/>
          </a:prstGeom>
        </p:spPr>
      </p:pic>
      <p:pic>
        <p:nvPicPr>
          <p:cNvPr id="9" name="Grafik 9">
            <a:extLst>
              <a:ext uri="{FF2B5EF4-FFF2-40B4-BE49-F238E27FC236}">
                <a16:creationId xmlns:a16="http://schemas.microsoft.com/office/drawing/2014/main" id="{917BF4D2-6223-712B-CFEB-3BF4F2175C0D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7565" y="3346692"/>
            <a:ext cx="3480841" cy="2319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636774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 bwMode="auto">
          <a:xfrm>
            <a:off x="-96689" y="3501008"/>
            <a:ext cx="7704853" cy="576064"/>
          </a:xfrm>
          <a:prstGeom prst="rect">
            <a:avLst/>
          </a:prstGeom>
          <a:solidFill>
            <a:srgbClr val="C6E4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de-DE"/>
              <a:t>Agenda </a:t>
            </a:r>
            <a:endParaRPr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7" y="1111183"/>
            <a:ext cx="8674595" cy="4911547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de-DE" dirty="0"/>
              <a:t>Innovationsprozess</a:t>
            </a:r>
          </a:p>
          <a:p>
            <a:pPr>
              <a:defRPr/>
            </a:pPr>
            <a:r>
              <a:rPr lang="de-DE" dirty="0"/>
              <a:t>Templates</a:t>
            </a:r>
          </a:p>
          <a:p>
            <a:pPr>
              <a:defRPr/>
            </a:pPr>
            <a:r>
              <a:rPr lang="de-DE" dirty="0"/>
              <a:t>Hilfsmittel - Innovation Boards</a:t>
            </a:r>
          </a:p>
          <a:p>
            <a:pPr>
              <a:defRPr/>
            </a:pPr>
            <a:r>
              <a:rPr lang="de-DE" dirty="0"/>
              <a:t>Beispielhafte Wege durch ein Innovationsprojekt</a:t>
            </a:r>
          </a:p>
          <a:p>
            <a:pPr>
              <a:defRPr/>
            </a:pPr>
            <a:r>
              <a:rPr lang="de-DE" dirty="0"/>
              <a:t>Innovation Lab</a:t>
            </a:r>
          </a:p>
          <a:p>
            <a:pPr>
              <a:defRPr/>
            </a:pPr>
            <a:r>
              <a:rPr lang="de-DE" dirty="0"/>
              <a:t>Fazit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</p:txBody>
      </p:sp>
      <p:cxnSp>
        <p:nvCxnSpPr>
          <p:cNvPr id="6" name="Gerader Verbinder 5"/>
          <p:cNvCxnSpPr>
            <a:cxnSpLocks/>
          </p:cNvCxnSpPr>
          <p:nvPr/>
        </p:nvCxnSpPr>
        <p:spPr bwMode="auto">
          <a:xfrm>
            <a:off x="263352" y="-27384"/>
            <a:ext cx="0" cy="6957392"/>
          </a:xfrm>
          <a:prstGeom prst="line">
            <a:avLst/>
          </a:prstGeom>
          <a:ln w="57150">
            <a:solidFill>
              <a:srgbClr val="3B9C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6816213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4E45416-F02B-4DB0-FB5B-F931A27140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242321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B3CC7E6-A849-AE10-A60B-22FCA8884C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Fazi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0B30B2-02AA-9859-3F19-5D6FA25EE4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Erkenntnisse aus den Phasen bestimmen die Richtung des Innovationsprojekts</a:t>
            </a:r>
          </a:p>
          <a:p>
            <a:r>
              <a:rPr lang="de-DE" dirty="0"/>
              <a:t>Innovation ist eine iterative Abfolge der Phasen </a:t>
            </a:r>
            <a:r>
              <a:rPr lang="de-DE" dirty="0" err="1"/>
              <a:t>Explore</a:t>
            </a:r>
            <a:r>
              <a:rPr lang="de-DE" dirty="0"/>
              <a:t>, Create, </a:t>
            </a:r>
            <a:r>
              <a:rPr lang="de-DE" dirty="0" err="1"/>
              <a:t>Evaluate</a:t>
            </a:r>
            <a:r>
              <a:rPr lang="de-DE" dirty="0"/>
              <a:t> – Nicht unbedingt in dieser Reihenfolge!</a:t>
            </a:r>
          </a:p>
          <a:p>
            <a:r>
              <a:rPr lang="de-DE" dirty="0"/>
              <a:t>Nutzen Sie das Lab als kreativen Arbeitsort für Ihre Innovationsprojekte</a:t>
            </a:r>
          </a:p>
        </p:txBody>
      </p:sp>
    </p:spTree>
    <p:extLst>
      <p:ext uri="{BB962C8B-B14F-4D97-AF65-F5344CB8AC3E}">
        <p14:creationId xmlns:p14="http://schemas.microsoft.com/office/powerpoint/2010/main" val="17361642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296DC08-9503-8322-0FF2-20F88722E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296DC08-9503-8322-0FF2-20F88722E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5E68F62-3B7E-7EA6-5A3E-A98E237574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Innovation ist kein linear planbarer Prozes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48CD0C-A7C0-2A6A-199A-5EBFE158DB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Erkenntnisse aus den Phasen bestimmen die Richtung des Innovationsprojekts</a:t>
            </a:r>
          </a:p>
          <a:p>
            <a:r>
              <a:rPr lang="de-DE" dirty="0"/>
              <a:t>Innovation ist eine iterative Abfolge der Phasen </a:t>
            </a:r>
            <a:r>
              <a:rPr lang="de-DE" dirty="0" err="1"/>
              <a:t>Explore</a:t>
            </a:r>
            <a:r>
              <a:rPr lang="de-DE" dirty="0"/>
              <a:t>, Create, </a:t>
            </a:r>
            <a:r>
              <a:rPr lang="de-DE" dirty="0" err="1"/>
              <a:t>Evaluate</a:t>
            </a:r>
            <a:r>
              <a:rPr lang="de-DE" dirty="0"/>
              <a:t> – Nicht unbedingt in dieser Reihenfolge!</a:t>
            </a:r>
          </a:p>
          <a:p>
            <a:r>
              <a:rPr lang="de-DE" dirty="0"/>
              <a:t>Anwendung der Methoden ist keine Erfolgsgarantie – Aber Möglichkeit zur Risikominimierung</a:t>
            </a:r>
          </a:p>
        </p:txBody>
      </p:sp>
    </p:spTree>
    <p:extLst>
      <p:ext uri="{BB962C8B-B14F-4D97-AF65-F5344CB8AC3E}">
        <p14:creationId xmlns:p14="http://schemas.microsoft.com/office/powerpoint/2010/main" val="11239782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 bwMode="auto">
          <a:xfrm>
            <a:off x="-96689" y="1556792"/>
            <a:ext cx="7704853" cy="576064"/>
          </a:xfrm>
          <a:prstGeom prst="rect">
            <a:avLst/>
          </a:prstGeom>
          <a:solidFill>
            <a:srgbClr val="C6E4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de-DE"/>
              <a:t>Agenda </a:t>
            </a:r>
            <a:endParaRPr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7" y="1111183"/>
            <a:ext cx="8674595" cy="4911547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de-DE" dirty="0"/>
              <a:t>Innovationsprozess</a:t>
            </a:r>
          </a:p>
          <a:p>
            <a:pPr>
              <a:defRPr/>
            </a:pPr>
            <a:r>
              <a:rPr lang="de-DE" dirty="0"/>
              <a:t>Templates</a:t>
            </a:r>
          </a:p>
          <a:p>
            <a:pPr>
              <a:defRPr/>
            </a:pPr>
            <a:r>
              <a:rPr lang="de-DE" dirty="0"/>
              <a:t>Hilfsmittel - Innovation Boards</a:t>
            </a:r>
          </a:p>
          <a:p>
            <a:pPr>
              <a:defRPr/>
            </a:pPr>
            <a:r>
              <a:rPr lang="de-DE" dirty="0"/>
              <a:t>Beispielhafte Wege durch ein Innovationsprojekt</a:t>
            </a:r>
          </a:p>
          <a:p>
            <a:pPr>
              <a:defRPr/>
            </a:pPr>
            <a:r>
              <a:rPr lang="de-DE" dirty="0"/>
              <a:t>Innovation Lab</a:t>
            </a:r>
          </a:p>
          <a:p>
            <a:pPr>
              <a:defRPr/>
            </a:pPr>
            <a:r>
              <a:rPr lang="de-DE" dirty="0"/>
              <a:t>Fazit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</p:txBody>
      </p:sp>
      <p:cxnSp>
        <p:nvCxnSpPr>
          <p:cNvPr id="6" name="Gerader Verbinder 5"/>
          <p:cNvCxnSpPr>
            <a:cxnSpLocks/>
          </p:cNvCxnSpPr>
          <p:nvPr/>
        </p:nvCxnSpPr>
        <p:spPr bwMode="auto">
          <a:xfrm>
            <a:off x="263352" y="-27384"/>
            <a:ext cx="0" cy="6957392"/>
          </a:xfrm>
          <a:prstGeom prst="line">
            <a:avLst/>
          </a:prstGeom>
          <a:ln w="57150">
            <a:solidFill>
              <a:srgbClr val="3B9C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451308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11C73A4-CC0A-2862-542C-2097F5D547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11C73A4-CC0A-2862-542C-2097F5D547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A330957-9E28-D02D-7452-6576D2A3D2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Templat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75DD71-FF53-F740-5580-6046F76CF29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Templates sind Vorlagen, die das Team dabei unterstützen sollen die Methoden einzusetzen</a:t>
            </a:r>
          </a:p>
          <a:p>
            <a:r>
              <a:rPr lang="de-DE" dirty="0"/>
              <a:t>Templates sind für viele Methoden verfügbar</a:t>
            </a:r>
          </a:p>
        </p:txBody>
      </p:sp>
    </p:spTree>
    <p:extLst>
      <p:ext uri="{BB962C8B-B14F-4D97-AF65-F5344CB8AC3E}">
        <p14:creationId xmlns:p14="http://schemas.microsoft.com/office/powerpoint/2010/main" val="24557030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EF2BD34-01F4-A851-E277-12F6617AF2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EF2BD34-01F4-A851-E277-12F6617AF2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DD55CAC-1D4C-F255-BDBC-B556460E2B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Beispieltemplate – Interviewleitfaden (Explore)</a:t>
            </a:r>
          </a:p>
        </p:txBody>
      </p:sp>
      <p:pic>
        <p:nvPicPr>
          <p:cNvPr id="10" name="Content Placeholder 9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2B58A07E-B82E-1F53-3842-53EC461C29C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3142544" y="1225481"/>
            <a:ext cx="5906912" cy="5238206"/>
          </a:xfrm>
        </p:spPr>
      </p:pic>
    </p:spTree>
    <p:extLst>
      <p:ext uri="{BB962C8B-B14F-4D97-AF65-F5344CB8AC3E}">
        <p14:creationId xmlns:p14="http://schemas.microsoft.com/office/powerpoint/2010/main" val="4164729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EF2BD34-01F4-A851-E277-12F6617AF2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EF2BD34-01F4-A851-E277-12F6617AF2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DD55CAC-1D4C-F255-BDBC-B556460E2B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Beispieltemplate – Value Proposition Canvas (Create)</a:t>
            </a:r>
          </a:p>
        </p:txBody>
      </p:sp>
      <p:pic>
        <p:nvPicPr>
          <p:cNvPr id="13" name="Content Placeholder 12" descr="Diagram&#10;&#10;Description automatically generated">
            <a:extLst>
              <a:ext uri="{FF2B5EF4-FFF2-40B4-BE49-F238E27FC236}">
                <a16:creationId xmlns:a16="http://schemas.microsoft.com/office/drawing/2014/main" id="{B23E1E71-CCFF-0D90-C56C-F1C78CBB558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1303022" y="1285382"/>
            <a:ext cx="8945052" cy="4287235"/>
          </a:xfrm>
        </p:spPr>
      </p:pic>
    </p:spTree>
    <p:extLst>
      <p:ext uri="{BB962C8B-B14F-4D97-AF65-F5344CB8AC3E}">
        <p14:creationId xmlns:p14="http://schemas.microsoft.com/office/powerpoint/2010/main" val="24318580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EF2BD34-01F4-A851-E277-12F6617AF2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EF2BD34-01F4-A851-E277-12F6617AF2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DD55CAC-1D4C-F255-BDBC-B556460E2B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Beispieltemplate – Feedback Grid (Evaluate)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9A47C99-821D-7904-2E21-54B34115386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07647" y="1412776"/>
            <a:ext cx="4776706" cy="4674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2362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EF2BD34-01F4-A851-E277-12F6617AF2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EF2BD34-01F4-A851-E277-12F6617AF2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DD55CAC-1D4C-F255-BDBC-B556460E2B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Beispieltemplate – Business Model Canvas (Evaluate)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FF5A378-989C-E405-DDC1-26FB60FC728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32645" y="980728"/>
            <a:ext cx="8326709" cy="5632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67033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Benutzerdefiniert 2">
      <a:dk1>
        <a:srgbClr val="000000"/>
      </a:dk1>
      <a:lt1>
        <a:srgbClr val="F0F0F0"/>
      </a:lt1>
      <a:dk2>
        <a:srgbClr val="002C6F"/>
      </a:dk2>
      <a:lt2>
        <a:srgbClr val="002C6F"/>
      </a:lt2>
      <a:accent1>
        <a:srgbClr val="002C6F"/>
      </a:accent1>
      <a:accent2>
        <a:srgbClr val="002C6F"/>
      </a:accent2>
      <a:accent3>
        <a:srgbClr val="F1F1F1"/>
      </a:accent3>
      <a:accent4>
        <a:srgbClr val="CCEB9D"/>
      </a:accent4>
      <a:accent5>
        <a:srgbClr val="A5C94F"/>
      </a:accent5>
      <a:accent6>
        <a:srgbClr val="70AD47"/>
      </a:accent6>
      <a:hlink>
        <a:srgbClr val="79DAF6"/>
      </a:hlink>
      <a:folHlink>
        <a:srgbClr val="CF5858"/>
      </a:folHlink>
    </a:clrScheme>
    <a:fontScheme name="Trebuchet MS">
      <a:majorFont>
        <a:latin typeface="Trebuchet MS"/>
        <a:ea typeface="Arial"/>
        <a:cs typeface="Arial"/>
      </a:majorFont>
      <a:minorFont>
        <a:latin typeface="Trebuchet MS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049</TotalTime>
  <Words>385</Words>
  <Application>Microsoft Macintosh PowerPoint</Application>
  <DocSecurity>0</DocSecurity>
  <PresentationFormat>Widescreen</PresentationFormat>
  <Paragraphs>100</Paragraphs>
  <Slides>23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3" baseType="lpstr">
      <vt:lpstr>Arial</vt:lpstr>
      <vt:lpstr>Calibri</vt:lpstr>
      <vt:lpstr>Chakra Petch</vt:lpstr>
      <vt:lpstr>Chakra Petch SemiBold</vt:lpstr>
      <vt:lpstr>Lato Light</vt:lpstr>
      <vt:lpstr>Source Code Pro</vt:lpstr>
      <vt:lpstr>Trebuchet MS</vt:lpstr>
      <vt:lpstr>Wingdings</vt:lpstr>
      <vt:lpstr>Office</vt:lpstr>
      <vt:lpstr>think-cell Slide</vt:lpstr>
      <vt:lpstr>Digital Innovation – How to run an innovation project</vt:lpstr>
      <vt:lpstr>Agenda </vt:lpstr>
      <vt:lpstr>Innovation ist kein linear planbarer Prozess</vt:lpstr>
      <vt:lpstr>Agenda </vt:lpstr>
      <vt:lpstr>Templates</vt:lpstr>
      <vt:lpstr>Beispieltemplate – Interviewleitfaden (Explore)</vt:lpstr>
      <vt:lpstr>Beispieltemplate – Value Proposition Canvas (Create)</vt:lpstr>
      <vt:lpstr>Beispieltemplate – Feedback Grid (Evaluate)</vt:lpstr>
      <vt:lpstr>Beispieltemplate – Business Model Canvas (Evaluate)</vt:lpstr>
      <vt:lpstr>Agenda </vt:lpstr>
      <vt:lpstr>Innovation Boards</vt:lpstr>
      <vt:lpstr>Beispiel Innovation Board - Explore</vt:lpstr>
      <vt:lpstr>Beispiel Innovation Board - Explore</vt:lpstr>
      <vt:lpstr>Beispiel Innovation Board - Explore</vt:lpstr>
      <vt:lpstr>Mehr Informationen zu den Boards befinden sich in der Note zu diesem Video.</vt:lpstr>
      <vt:lpstr>Agenda </vt:lpstr>
      <vt:lpstr>Smarte Küche für ältere Menschen</vt:lpstr>
      <vt:lpstr>Foodsharing im Wohnheim</vt:lpstr>
      <vt:lpstr>Agenda </vt:lpstr>
      <vt:lpstr>Das Innovation Lab K219 (Gebäude IM)</vt:lpstr>
      <vt:lpstr>Innovation Lab</vt:lpstr>
      <vt:lpstr>Agenda </vt:lpstr>
      <vt:lpstr>Fazi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OCHE 2</dc:title>
  <dc:subject/>
  <dc:creator>Melanie Lachmann</dc:creator>
  <cp:keywords/>
  <dc:description/>
  <cp:lastModifiedBy>Markus Heckner</cp:lastModifiedBy>
  <cp:revision>233</cp:revision>
  <dcterms:created xsi:type="dcterms:W3CDTF">2022-02-03T14:23:38Z</dcterms:created>
  <dcterms:modified xsi:type="dcterms:W3CDTF">2023-03-01T16:38:02Z</dcterms:modified>
  <cp:category/>
  <dc:identifier/>
  <cp:contentStatus/>
  <dc:language/>
  <cp:version/>
</cp:coreProperties>
</file>